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88" r:id="rId4"/>
    <p:sldMasterId id="2147483851" r:id="rId5"/>
  </p:sldMasterIdLst>
  <p:notesMasterIdLst>
    <p:notesMasterId r:id="rId10"/>
  </p:notesMasterIdLst>
  <p:handoutMasterIdLst>
    <p:handoutMasterId r:id="rId11"/>
  </p:handoutMasterIdLst>
  <p:sldIdLst>
    <p:sldId id="348" r:id="rId6"/>
    <p:sldId id="399" r:id="rId7"/>
    <p:sldId id="423" r:id="rId8"/>
    <p:sldId id="404" r:id="rId9"/>
  </p:sldIdLst>
  <p:sldSz cx="12192000" cy="6858000"/>
  <p:notesSz cx="7315200" cy="9601200"/>
  <p:embeddedFontLst>
    <p:embeddedFont>
      <p:font typeface="GSK Precision Light" pitchFamily="2" charset="0"/>
      <p:regular r:id="rId12"/>
      <p:italic r:id="rId13"/>
    </p:embeddedFont>
  </p:embeddedFontLst>
  <p:custDataLst>
    <p:tags r:id="rId14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SK PPT Presentation Kit" id="{5267B487-D309-4727-B92B-59227F8B66A0}">
          <p14:sldIdLst>
            <p14:sldId id="348"/>
            <p14:sldId id="399"/>
            <p14:sldId id="423"/>
            <p14:sldId id="404"/>
          </p14:sldIdLst>
        </p14:section>
        <p14:section name="Template" id="{8A93578A-4793-4575-A683-F9A4738827C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8853" autoAdjust="0"/>
  </p:normalViewPr>
  <p:slideViewPr>
    <p:cSldViewPr snapToGrid="0" showGuides="1">
      <p:cViewPr varScale="1">
        <p:scale>
          <a:sx n="71" d="100"/>
          <a:sy n="71" d="100"/>
        </p:scale>
        <p:origin x="41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38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2.fntdata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font" Target="fonts/font1.fntdata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 Beatriz dos Santos" userId="5f0e3e64-0111-4aee-a73c-71652b65fb11" providerId="ADAL" clId="{A87566CE-0BB9-4A2E-BD6A-78834BA59A6A}"/>
    <pc:docChg chg="undo custSel delSld modSld modSection">
      <pc:chgData name="Ana Beatriz dos Santos" userId="5f0e3e64-0111-4aee-a73c-71652b65fb11" providerId="ADAL" clId="{A87566CE-0BB9-4A2E-BD6A-78834BA59A6A}" dt="2026-02-24T13:23:58.598" v="1139" actId="20577"/>
      <pc:docMkLst>
        <pc:docMk/>
      </pc:docMkLst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4183249202" sldId="291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045691817" sldId="393"/>
        </pc:sldMkLst>
      </pc:sldChg>
      <pc:sldChg chg="delSp modSp mod">
        <pc:chgData name="Ana Beatriz dos Santos" userId="5f0e3e64-0111-4aee-a73c-71652b65fb11" providerId="ADAL" clId="{A87566CE-0BB9-4A2E-BD6A-78834BA59A6A}" dt="2026-02-24T13:23:58.598" v="1139" actId="20577"/>
        <pc:sldMkLst>
          <pc:docMk/>
          <pc:sldMk cId="4056268173" sldId="399"/>
        </pc:sldMkLst>
        <pc:spChg chg="mod">
          <ac:chgData name="Ana Beatriz dos Santos" userId="5f0e3e64-0111-4aee-a73c-71652b65fb11" providerId="ADAL" clId="{A87566CE-0BB9-4A2E-BD6A-78834BA59A6A}" dt="2026-02-24T13:12:30.565" v="82" actId="1076"/>
          <ac:spMkLst>
            <pc:docMk/>
            <pc:sldMk cId="4056268173" sldId="399"/>
            <ac:spMk id="5" creationId="{57258E46-E5CA-BF1D-EFD2-0B60344725B5}"/>
          </ac:spMkLst>
        </pc:spChg>
        <pc:spChg chg="del">
          <ac:chgData name="Ana Beatriz dos Santos" userId="5f0e3e64-0111-4aee-a73c-71652b65fb11" providerId="ADAL" clId="{A87566CE-0BB9-4A2E-BD6A-78834BA59A6A}" dt="2026-02-24T13:12:10.624" v="41" actId="478"/>
          <ac:spMkLst>
            <pc:docMk/>
            <pc:sldMk cId="4056268173" sldId="399"/>
            <ac:spMk id="9" creationId="{7E085CFE-CB6A-03DE-22C7-0F63D96ED369}"/>
          </ac:spMkLst>
        </pc:spChg>
        <pc:spChg chg="mod">
          <ac:chgData name="Ana Beatriz dos Santos" userId="5f0e3e64-0111-4aee-a73c-71652b65fb11" providerId="ADAL" clId="{A87566CE-0BB9-4A2E-BD6A-78834BA59A6A}" dt="2026-02-24T13:23:58.598" v="1139" actId="20577"/>
          <ac:spMkLst>
            <pc:docMk/>
            <pc:sldMk cId="4056268173" sldId="399"/>
            <ac:spMk id="10" creationId="{19585AC1-1E5E-C82F-39B0-092EB3899918}"/>
          </ac:spMkLst>
        </pc:spChg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753313894" sldId="400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523013196" sldId="401"/>
        </pc:sldMkLst>
      </pc:sldChg>
      <pc:sldChg chg="addSp modSp mod">
        <pc:chgData name="Ana Beatriz dos Santos" userId="5f0e3e64-0111-4aee-a73c-71652b65fb11" providerId="ADAL" clId="{A87566CE-0BB9-4A2E-BD6A-78834BA59A6A}" dt="2026-02-24T13:23:17.459" v="1134" actId="1076"/>
        <pc:sldMkLst>
          <pc:docMk/>
          <pc:sldMk cId="907840877" sldId="404"/>
        </pc:sldMkLst>
        <pc:spChg chg="mod">
          <ac:chgData name="Ana Beatriz dos Santos" userId="5f0e3e64-0111-4aee-a73c-71652b65fb11" providerId="ADAL" clId="{A87566CE-0BB9-4A2E-BD6A-78834BA59A6A}" dt="2026-02-24T13:22:41.288" v="1119" actId="6549"/>
          <ac:spMkLst>
            <pc:docMk/>
            <pc:sldMk cId="907840877" sldId="404"/>
            <ac:spMk id="5" creationId="{D45B81A6-A2C6-4575-B1BC-0E39AB168BEA}"/>
          </ac:spMkLst>
        </pc:spChg>
        <pc:spChg chg="mod">
          <ac:chgData name="Ana Beatriz dos Santos" userId="5f0e3e64-0111-4aee-a73c-71652b65fb11" providerId="ADAL" clId="{A87566CE-0BB9-4A2E-BD6A-78834BA59A6A}" dt="2026-02-24T13:19:11.637" v="889" actId="20577"/>
          <ac:spMkLst>
            <pc:docMk/>
            <pc:sldMk cId="907840877" sldId="404"/>
            <ac:spMk id="6" creationId="{7F9554F3-4E6D-CE71-965E-EB6724461C10}"/>
          </ac:spMkLst>
        </pc:spChg>
        <pc:picChg chg="add mod">
          <ac:chgData name="Ana Beatriz dos Santos" userId="5f0e3e64-0111-4aee-a73c-71652b65fb11" providerId="ADAL" clId="{A87566CE-0BB9-4A2E-BD6A-78834BA59A6A}" dt="2026-02-24T13:23:17.459" v="1134" actId="1076"/>
          <ac:picMkLst>
            <pc:docMk/>
            <pc:sldMk cId="907840877" sldId="404"/>
            <ac:picMk id="7" creationId="{07A5217E-7DFC-5FB9-6178-230748442904}"/>
          </ac:picMkLst>
        </pc:picChg>
        <pc:picChg chg="add mod">
          <ac:chgData name="Ana Beatriz dos Santos" userId="5f0e3e64-0111-4aee-a73c-71652b65fb11" providerId="ADAL" clId="{A87566CE-0BB9-4A2E-BD6A-78834BA59A6A}" dt="2026-02-24T13:23:15.764" v="1133" actId="1076"/>
          <ac:picMkLst>
            <pc:docMk/>
            <pc:sldMk cId="907840877" sldId="404"/>
            <ac:picMk id="9" creationId="{1D7E8963-8E88-251F-DC5F-6104E5D9D459}"/>
          </ac:picMkLst>
        </pc:picChg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945576213" sldId="409"/>
        </pc:sldMkLst>
      </pc:sldChg>
      <pc:sldChg chg="del">
        <pc:chgData name="Ana Beatriz dos Santos" userId="5f0e3e64-0111-4aee-a73c-71652b65fb11" providerId="ADAL" clId="{A87566CE-0BB9-4A2E-BD6A-78834BA59A6A}" dt="2026-02-24T13:11:48.262" v="0" actId="47"/>
        <pc:sldMkLst>
          <pc:docMk/>
          <pc:sldMk cId="416153766" sldId="412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643076286" sldId="413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718426405" sldId="414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129061580" sldId="415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099253558" sldId="416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283594322" sldId="417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70714003" sldId="418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604718011" sldId="419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36801914" sldId="420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260594313" sldId="421"/>
        </pc:sldMkLst>
      </pc:sldChg>
      <pc:sldChg chg="modSp mod">
        <pc:chgData name="Ana Beatriz dos Santos" userId="5f0e3e64-0111-4aee-a73c-71652b65fb11" providerId="ADAL" clId="{A87566CE-0BB9-4A2E-BD6A-78834BA59A6A}" dt="2026-02-24T13:18:59.032" v="882" actId="20577"/>
        <pc:sldMkLst>
          <pc:docMk/>
          <pc:sldMk cId="1155700711" sldId="423"/>
        </pc:sldMkLst>
        <pc:spChg chg="mod">
          <ac:chgData name="Ana Beatriz dos Santos" userId="5f0e3e64-0111-4aee-a73c-71652b65fb11" providerId="ADAL" clId="{A87566CE-0BB9-4A2E-BD6A-78834BA59A6A}" dt="2026-02-24T13:18:59.032" v="882" actId="20577"/>
          <ac:spMkLst>
            <pc:docMk/>
            <pc:sldMk cId="1155700711" sldId="423"/>
            <ac:spMk id="5" creationId="{340CA0B7-C657-3FE2-802F-0D20227FF4F2}"/>
          </ac:spMkLst>
        </pc:spChg>
        <pc:spChg chg="mod">
          <ac:chgData name="Ana Beatriz dos Santos" userId="5f0e3e64-0111-4aee-a73c-71652b65fb11" providerId="ADAL" clId="{A87566CE-0BB9-4A2E-BD6A-78834BA59A6A}" dt="2026-02-24T13:15:12.578" v="378" actId="5793"/>
          <ac:spMkLst>
            <pc:docMk/>
            <pc:sldMk cId="1155700711" sldId="423"/>
            <ac:spMk id="6" creationId="{F43DBF94-FC8A-CB3C-C621-C1CAEECAC4DF}"/>
          </ac:spMkLst>
        </pc:spChg>
        <pc:graphicFrameChg chg="mod modGraphic">
          <ac:chgData name="Ana Beatriz dos Santos" userId="5f0e3e64-0111-4aee-a73c-71652b65fb11" providerId="ADAL" clId="{A87566CE-0BB9-4A2E-BD6A-78834BA59A6A}" dt="2026-02-24T13:18:49.973" v="874" actId="1076"/>
          <ac:graphicFrameMkLst>
            <pc:docMk/>
            <pc:sldMk cId="1155700711" sldId="423"/>
            <ac:graphicFrameMk id="7" creationId="{BD205AFE-5897-8BE9-5B7B-591883C1873C}"/>
          </ac:graphicFrameMkLst>
        </pc:graphicFrameChg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262456045" sldId="424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17602292" sldId="425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4021875435" sldId="426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829570208" sldId="427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878784236" sldId="428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966098997" sldId="429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77060993" sldId="430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035762590" sldId="431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707244855" sldId="432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540205326" sldId="433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516915731" sldId="434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861410843" sldId="435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503041144" sldId="436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649284539" sldId="437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4039356338" sldId="438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616050674" sldId="439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216411949" sldId="440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929641451" sldId="441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032428594" sldId="442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198059287" sldId="443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58600321" sldId="444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040313005" sldId="445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4216291768" sldId="446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1161614853" sldId="447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151619947" sldId="448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2432931866" sldId="449"/>
        </pc:sldMkLst>
      </pc:sldChg>
      <pc:sldChg chg="del">
        <pc:chgData name="Ana Beatriz dos Santos" userId="5f0e3e64-0111-4aee-a73c-71652b65fb11" providerId="ADAL" clId="{A87566CE-0BB9-4A2E-BD6A-78834BA59A6A}" dt="2026-02-24T13:23:37.612" v="1135" actId="47"/>
        <pc:sldMkLst>
          <pc:docMk/>
          <pc:sldMk cId="301654021" sldId="45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2FE7CBA-E269-484E-BC88-4EF08BDBC0FE}" type="datetimeFigureOut">
              <a:rPr lang="en-GB" smtClean="0"/>
              <a:t>24/02/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24/02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svg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5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1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5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3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1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3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svg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2517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9A99C6-B235-2720-3500-EE89CB56CE50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E051E-8049-FCFD-A54B-E240AC53D1B2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E8FC5E-A678-F4F9-6FC7-EEAB2E69AF78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5B3DF6-C945-56A1-A6D2-AC4E6E31179A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88839E-C216-4873-F020-A965C577DAF8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D1E881-0EAE-876E-66F9-7BE9CD740E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A7AA8-50D7-2FFC-F51D-207317C17D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4440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4068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6F1642B-8EED-A6CF-BBC5-B42CE4EBF30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2797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0002D55-6A06-5683-C312-CA5DFDAEEB1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69642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CA69924-8312-93A7-5F21-75AD30BAD2D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2459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B1F1611-ED93-9CD1-6AD6-199DF0E35EE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3890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97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36000" tIns="90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8038B8-901B-5BEE-8CE6-19D62D27912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1042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5768D83-B8CA-09C4-C389-ACE31191A4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916881" cy="4477804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36000" tIns="36000" rIns="360000" bIns="36000">
            <a:noAutofit/>
          </a:bodyPr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35754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71998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 marL="108142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 marL="143996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AEA03D-D3A8-FC8F-37D0-7EAB8EC481E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6214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1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19100" y="1454538"/>
            <a:ext cx="549365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277344" y="1454538"/>
            <a:ext cx="549360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E7A351A-B15B-3DA1-263F-714BB743255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053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E10F851-9956-BDE2-1DA3-0125BE310B9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9372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9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3556987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F83A6-67EC-BF30-F3AD-7891EB5F2F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F83A6-67EC-BF30-F3AD-7891EB5F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57E4C88-FB78-C0EB-6CA2-6DB87B6473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E51AA2-DEA8-2D1B-54F8-4EE8EBF4ABFD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8D691E-620B-C251-3069-82DAB53E7FE8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920F982-80BA-58FA-0389-6CA3EEEAB0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96749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50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35E16B8-17D3-543D-006C-0A00D7BCD6B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7897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54CC1B-BB75-5C08-0EF4-460941431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54CC1B-BB75-5C08-0EF4-460941431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9A05D5A-9CCC-5188-4E3A-BF14F2F8413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1468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AC5B506-7665-AFF6-5244-82648A658A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11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A4A6B2A-6054-FB98-6941-36A9785D96EC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42080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96294BD-73D4-ECCE-653C-2F2D34CF4FB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72186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5840FC4-EF91-6057-D142-8946C40663E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83261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FB077E6-A497-BD51-F093-6A35A273C6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5F2231-75A7-6D5A-D43A-D1ED0047240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4 February 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CF624C-160E-52EF-3483-12862F50406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A9B30-F0E9-652B-90C7-E06150BF593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96021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892829F7-D00B-D1D9-8C3F-B46975A49CE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3AC7EC-E84D-2407-60E1-83539276824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4 February 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8C160-158E-CE9D-E508-486DA74359F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AA66F-C438-CF40-4530-502E5013C27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65302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TABLE icon to insert table.]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C215B3-1FB2-8234-43A0-F10081D89FE6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3411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CHART icons to insert chart.]</a:t>
            </a:r>
            <a:br>
              <a:rPr lang="en-GB" dirty="0"/>
            </a:br>
            <a:r>
              <a:rPr lang="en-US" dirty="0"/>
              <a:t>Please ensure your chart title, legend, x and y axis titles are minimum 12 pt, GSK Precision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617660-F2DC-E09E-FCD2-2D56713F40B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8883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CA69924-8312-93A7-5F21-75AD30BAD2D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61862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93496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4C983F-C815-9C16-5CEE-1598AF9E136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A0315B-927F-FC0E-1112-321AD19AB5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328" t="12162" r="1499" b="12843"/>
          <a:stretch/>
        </p:blipFill>
        <p:spPr>
          <a:xfrm>
            <a:off x="10847037" y="6191252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50884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1395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65F7C9-2DD0-029B-C39C-E172165AB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65F7C9-2DD0-029B-C39C-E172165AB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3C8C0300-5E34-01FA-8DA8-816FE17514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967147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74C1E3-F673-6C02-80D2-918CC00E2B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74C1E3-F673-6C02-80D2-918CC00E2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B5553F47-A3E3-7613-63E9-F408F27A9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3018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A31EE88-6D6C-D069-3146-A339C9601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445B33E-2C66-175D-1B1C-7BB81E21C5EE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BF19C8-4ECE-0C1F-50D8-D1CBA75107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759028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971DFFD-2455-676B-AE64-9BFFC5437EDC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9D3E439-CEEB-5A25-B0DB-B35AA868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2025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A31EE88-6D6C-D069-3146-A339C9601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445B33E-2C66-175D-1B1C-7BB81E21C5EE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BF19C8-4ECE-0C1F-50D8-D1CBA75107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9265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971DFFD-2455-676B-AE64-9BFFC5437EDC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9D3E439-CEEB-5A25-B0DB-B35AA868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6890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4 February 2026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8783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70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F83A6-67EC-BF30-F3AD-7891EB5F2F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F83A6-67EC-BF30-F3AD-7891EB5F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57E4C88-FB78-C0EB-6CA2-6DB87B6473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E51AA2-DEA8-2D1B-54F8-4EE8EBF4ABFD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8D691E-620B-C251-3069-82DAB53E7FE8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920F982-80BA-58FA-0389-6CA3EEEAB0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02783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B13C-C35B-6F45-C01B-3C6267B26CED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7EAF8D-F928-6A87-2D9C-669CBF910AF3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5555DC-AF4D-D959-E8F8-8DAA516CC47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3E07F268-9821-E4F1-853E-B3387EEA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6850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27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tags" Target="../tags/tag15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tags" Target="../tags/tag14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7963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5125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31069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24 February 2026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282CB4-0FD8-B104-9321-BA11F0350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282CB4-0FD8-B104-9321-BA11F0350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6234870-212E-CA77-79F1-894C23EE157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04551" y="6354213"/>
            <a:ext cx="820737" cy="247406"/>
          </a:xfrm>
          <a:prstGeom prst="rect">
            <a:avLst/>
          </a:prstGeom>
        </p:spPr>
      </p:pic>
    </p:spTree>
    <p:custDataLst>
      <p:tags r:id="rId8"/>
    </p:custDataLst>
    <p:extLst>
      <p:ext uri="{BB962C8B-B14F-4D97-AF65-F5344CB8AC3E}">
        <p14:creationId xmlns:p14="http://schemas.microsoft.com/office/powerpoint/2010/main" val="3442277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5" r:id="rId3"/>
    <p:sldLayoutId id="2147483817" r:id="rId4"/>
    <p:sldLayoutId id="2147483818" r:id="rId5"/>
    <p:sldLayoutId id="2147483850" r:id="rId6"/>
  </p:sldLayoutIdLs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8">
          <p15:clr>
            <a:srgbClr val="A6A6A6"/>
          </p15:clr>
        </p15:guide>
        <p15:guide id="29" pos="7680">
          <p15:clr>
            <a:srgbClr val="A6A6A6"/>
          </p15:clr>
        </p15:guide>
        <p15:guide id="30" pos="230">
          <p15:clr>
            <a:srgbClr val="A6A6A6"/>
          </p15:clr>
        </p15:guide>
        <p15:guide id="31" pos="1301">
          <p15:clr>
            <a:srgbClr val="A6A6A6"/>
          </p15:clr>
        </p15:guide>
        <p15:guide id="32" pos="1461">
          <p15:clr>
            <a:srgbClr val="A6A6A6"/>
          </p15:clr>
        </p15:guide>
        <p15:guide id="33" pos="2531">
          <p15:clr>
            <a:srgbClr val="A6A6A6"/>
          </p15:clr>
        </p15:guide>
        <p15:guide id="34" pos="2690">
          <p15:clr>
            <a:srgbClr val="A6A6A6"/>
          </p15:clr>
        </p15:guide>
        <p15:guide id="35" pos="3759">
          <p15:clr>
            <a:srgbClr val="A6A6A6"/>
          </p15:clr>
        </p15:guide>
        <p15:guide id="36" pos="3920">
          <p15:clr>
            <a:srgbClr val="A6A6A6"/>
          </p15:clr>
        </p15:guide>
        <p15:guide id="37" pos="4989">
          <p15:clr>
            <a:srgbClr val="A6A6A6"/>
          </p15:clr>
        </p15:guide>
        <p15:guide id="38" pos="5148">
          <p15:clr>
            <a:srgbClr val="A6A6A6"/>
          </p15:clr>
        </p15:guide>
        <p15:guide id="39" pos="6218">
          <p15:clr>
            <a:srgbClr val="A6A6A6"/>
          </p15:clr>
        </p15:guide>
        <p15:guide id="40" pos="6378">
          <p15:clr>
            <a:srgbClr val="A6A6A6"/>
          </p15:clr>
        </p15:guide>
        <p15:guide id="41" pos="7449">
          <p15:clr>
            <a:srgbClr val="A6A6A6"/>
          </p15:clr>
        </p15:guide>
        <p15:guide id="42" orient="horz">
          <p15:clr>
            <a:srgbClr val="A6A6A6"/>
          </p15:clr>
        </p15:guide>
        <p15:guide id="43" orient="horz" pos="4315">
          <p15:clr>
            <a:srgbClr val="A6A6A6"/>
          </p15:clr>
        </p15:guide>
        <p15:guide id="44" orient="horz" pos="153">
          <p15:clr>
            <a:srgbClr val="A6A6A6"/>
          </p15:clr>
        </p15:guide>
        <p15:guide id="45" orient="horz" pos="686">
          <p15:clr>
            <a:srgbClr val="A6A6A6"/>
          </p15:clr>
        </p15:guide>
        <p15:guide id="46" orient="horz" pos="821">
          <p15:clr>
            <a:srgbClr val="A6A6A6"/>
          </p15:clr>
        </p15:guide>
        <p15:guide id="47" orient="horz" pos="1323">
          <p15:clr>
            <a:srgbClr val="A6A6A6"/>
          </p15:clr>
        </p15:guide>
        <p15:guide id="48" orient="horz" pos="2330">
          <p15:clr>
            <a:srgbClr val="A6A6A6"/>
          </p15:clr>
        </p15:guide>
        <p15:guide id="49" orient="horz" pos="3335">
          <p15:clr>
            <a:srgbClr val="A6A6A6"/>
          </p15:clr>
        </p15:guide>
        <p15:guide id="50" orient="horz" pos="3838" userDrawn="1">
          <p15:clr>
            <a:srgbClr val="A6A6A6"/>
          </p15:clr>
        </p15:guide>
        <p15:guide id="51" orient="horz" pos="4166">
          <p15:clr>
            <a:srgbClr val="A6A6A6"/>
          </p15:clr>
        </p15:guide>
        <p15:guide id="52" orient="horz" pos="1827">
          <p15:clr>
            <a:srgbClr val="A4A3A4"/>
          </p15:clr>
        </p15:guide>
        <p15:guide id="53" orient="horz" pos="2832">
          <p15:clr>
            <a:srgbClr val="A4A3A4"/>
          </p15:clr>
        </p15:guide>
        <p15:guide id="54" orient="horz" pos="3996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7963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5125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31069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24 February 2026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282CB4-0FD8-B104-9321-BA11F0350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282CB4-0FD8-B104-9321-BA11F0350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6234870-212E-CA77-79F1-894C23EE15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004551" y="6354213"/>
            <a:ext cx="820737" cy="247406"/>
          </a:xfrm>
          <a:prstGeom prst="rect">
            <a:avLst/>
          </a:prstGeom>
        </p:spPr>
      </p:pic>
    </p:spTree>
    <p:custDataLst>
      <p:tags r:id="rId32"/>
    </p:custDataLst>
    <p:extLst>
      <p:ext uri="{BB962C8B-B14F-4D97-AF65-F5344CB8AC3E}">
        <p14:creationId xmlns:p14="http://schemas.microsoft.com/office/powerpoint/2010/main" val="150798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</p:sldLayoutIdLs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8">
          <p15:clr>
            <a:srgbClr val="A6A6A6"/>
          </p15:clr>
        </p15:guide>
        <p15:guide id="29" pos="7680">
          <p15:clr>
            <a:srgbClr val="A6A6A6"/>
          </p15:clr>
        </p15:guide>
        <p15:guide id="30" pos="230">
          <p15:clr>
            <a:srgbClr val="A6A6A6"/>
          </p15:clr>
        </p15:guide>
        <p15:guide id="31" pos="1301">
          <p15:clr>
            <a:srgbClr val="A6A6A6"/>
          </p15:clr>
        </p15:guide>
        <p15:guide id="32" pos="1461">
          <p15:clr>
            <a:srgbClr val="A6A6A6"/>
          </p15:clr>
        </p15:guide>
        <p15:guide id="33" pos="2531">
          <p15:clr>
            <a:srgbClr val="A6A6A6"/>
          </p15:clr>
        </p15:guide>
        <p15:guide id="34" pos="2690">
          <p15:clr>
            <a:srgbClr val="A6A6A6"/>
          </p15:clr>
        </p15:guide>
        <p15:guide id="35" pos="3759">
          <p15:clr>
            <a:srgbClr val="A6A6A6"/>
          </p15:clr>
        </p15:guide>
        <p15:guide id="36" pos="3920">
          <p15:clr>
            <a:srgbClr val="A6A6A6"/>
          </p15:clr>
        </p15:guide>
        <p15:guide id="37" pos="4989">
          <p15:clr>
            <a:srgbClr val="A6A6A6"/>
          </p15:clr>
        </p15:guide>
        <p15:guide id="38" pos="5148">
          <p15:clr>
            <a:srgbClr val="A6A6A6"/>
          </p15:clr>
        </p15:guide>
        <p15:guide id="39" pos="6218">
          <p15:clr>
            <a:srgbClr val="A6A6A6"/>
          </p15:clr>
        </p15:guide>
        <p15:guide id="40" pos="6378">
          <p15:clr>
            <a:srgbClr val="A6A6A6"/>
          </p15:clr>
        </p15:guide>
        <p15:guide id="41" pos="7449">
          <p15:clr>
            <a:srgbClr val="A6A6A6"/>
          </p15:clr>
        </p15:guide>
        <p15:guide id="42" orient="horz">
          <p15:clr>
            <a:srgbClr val="A6A6A6"/>
          </p15:clr>
        </p15:guide>
        <p15:guide id="43" orient="horz" pos="4315">
          <p15:clr>
            <a:srgbClr val="A6A6A6"/>
          </p15:clr>
        </p15:guide>
        <p15:guide id="44" orient="horz" pos="153">
          <p15:clr>
            <a:srgbClr val="A6A6A6"/>
          </p15:clr>
        </p15:guide>
        <p15:guide id="45" orient="horz" pos="686">
          <p15:clr>
            <a:srgbClr val="A6A6A6"/>
          </p15:clr>
        </p15:guide>
        <p15:guide id="46" orient="horz" pos="821">
          <p15:clr>
            <a:srgbClr val="A6A6A6"/>
          </p15:clr>
        </p15:guide>
        <p15:guide id="47" orient="horz" pos="1323">
          <p15:clr>
            <a:srgbClr val="A6A6A6"/>
          </p15:clr>
        </p15:guide>
        <p15:guide id="48" orient="horz" pos="2330">
          <p15:clr>
            <a:srgbClr val="A6A6A6"/>
          </p15:clr>
        </p15:guide>
        <p15:guide id="49" orient="horz" pos="3335">
          <p15:clr>
            <a:srgbClr val="A6A6A6"/>
          </p15:clr>
        </p15:guide>
        <p15:guide id="50" orient="horz" pos="3838">
          <p15:clr>
            <a:srgbClr val="A6A6A6"/>
          </p15:clr>
        </p15:guide>
        <p15:guide id="51" orient="horz" pos="4166">
          <p15:clr>
            <a:srgbClr val="A6A6A6"/>
          </p15:clr>
        </p15:guide>
        <p15:guide id="52" orient="horz" pos="1827">
          <p15:clr>
            <a:srgbClr val="A4A3A4"/>
          </p15:clr>
        </p15:guide>
        <p15:guide id="53" orient="horz" pos="2832">
          <p15:clr>
            <a:srgbClr val="A4A3A4"/>
          </p15:clr>
        </p15:guide>
        <p15:guide id="54" orient="horz" pos="39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pharmaledger.org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889358-EE57-D48C-A08A-F76561FEE4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889358-EE57-D48C-A08A-F76561FEE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>
            <a:extLst>
              <a:ext uri="{FF2B5EF4-FFF2-40B4-BE49-F238E27FC236}">
                <a16:creationId xmlns:a16="http://schemas.microsoft.com/office/drawing/2014/main" id="{E6023B0B-7CBD-68DD-D5B0-AD50C4BC6A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Projeto</a:t>
            </a:r>
            <a:r>
              <a:rPr lang="en-GB" dirty="0"/>
              <a:t> Bula Digital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BB15837F-C43F-B020-27AA-681632C8B4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GSK Bras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88A8CD-C5EA-1672-9A08-C5465CCAD1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0970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0C7F7C-7898-06F9-B740-62C3A76046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894BACA-B7B5-4749-D50A-A43407E2DFE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AF3A91-D0DD-401B-BF26-51BAE0221A5F}" type="datetime4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February 202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258E46-E5CA-BF1D-EFD2-0B6034472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918" y="244475"/>
            <a:ext cx="11460163" cy="430887"/>
          </a:xfrm>
        </p:spPr>
        <p:txBody>
          <a:bodyPr/>
          <a:lstStyle/>
          <a:p>
            <a:r>
              <a:rPr lang="pt-BR" dirty="0"/>
              <a:t>O que é o Projeto Piloto de Bula Digital da Anvisa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585AC1-1E5E-C82F-39B0-092EB3899918}"/>
              </a:ext>
            </a:extLst>
          </p:cNvPr>
          <p:cNvSpPr/>
          <p:nvPr/>
        </p:nvSpPr>
        <p:spPr bwMode="auto">
          <a:xfrm>
            <a:off x="365125" y="909554"/>
            <a:ext cx="11211178" cy="15970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180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GB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just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No </a:t>
            </a:r>
            <a:r>
              <a:rPr kumimoji="0" lang="en-GB" sz="2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ano</a:t>
            </a:r>
            <a:r>
              <a:rPr kumimoji="0" lang="en-GB" sz="2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 de 2024, a </a:t>
            </a:r>
            <a:r>
              <a: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Anvisa 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autorizou a implementação de um </a:t>
            </a:r>
            <a:r>
              <a:rPr kumimoji="0" lang="pt-BR" sz="2600" b="0" i="0" u="none" strike="noStrike" kern="0" cap="none" spc="0" normalizeH="0" baseline="0" noProof="0" dirty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Projeto Piloto para inclusão de bula digital com possibilidade de dispensa de bula física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,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para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um</a:t>
            </a:r>
            <a:r>
              <a:rPr kumimoji="0" lang="pt-BR" sz="26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 </a:t>
            </a:r>
            <a:r>
              <a:rPr kumimoji="0" lang="pt-BR" sz="2600" b="0" i="0" u="none" strike="noStrike" kern="0" cap="none" spc="0" normalizeH="0" baseline="0" noProof="0" dirty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determinado grupo de produto, com garantia do fornecimento da bula em papel mediante solicitação </a:t>
            </a:r>
            <a:r>
              <a:rPr kumimoji="0" lang="pt-BR" sz="2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t>do estabelecimento de saúde, do profissional prescritor ou do paciente</a:t>
            </a:r>
            <a:r>
              <a:rPr lang="pt-BR" sz="2600" b="1" kern="0" dirty="0">
                <a:solidFill>
                  <a:srgbClr val="000000"/>
                </a:solidFill>
                <a:latin typeface="GSK Precision Light"/>
                <a:cs typeface="Arial"/>
              </a:rPr>
              <a:t>.</a:t>
            </a:r>
            <a:endParaRPr kumimoji="0" lang="pt-BR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  <a:p>
            <a:pPr marL="0" marR="0" lvl="0" indent="0" algn="just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just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pt-BR" sz="2600" kern="0" dirty="0">
                <a:solidFill>
                  <a:srgbClr val="000000"/>
                </a:solidFill>
                <a:latin typeface="GSK Precision Light"/>
                <a:cs typeface="Arial"/>
              </a:rPr>
              <a:t>O Projeto válido até 31/Dez/2026 e após esse prazo, a Agência pretende fazer uma avaliação da implementação e verificar se irá ampliar o escopo de produtos que podem ser disponibilizados no mercado sem a bula em papel. </a:t>
            </a:r>
          </a:p>
          <a:p>
            <a:pPr marL="0" marR="0" lvl="0" indent="0" algn="just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626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0A1D6-65A5-C155-8461-F7FCF4E63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7F92C5-3B1D-09DA-EAC6-5871B538963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7F4CD0-83C1-4C99-A2BD-6DA4A1CC9D00}" type="datetime4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February 202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F9C63-CC30-D0EB-D7F1-1EAEB4F5F3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0CA0B7-C657-3FE2-802F-0D20227FF4F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6114" y="878275"/>
            <a:ext cx="11460163" cy="4489450"/>
          </a:xfrm>
        </p:spPr>
        <p:txBody>
          <a:bodyPr numCol="1"/>
          <a:lstStyle/>
          <a:p>
            <a:r>
              <a:rPr lang="pt-BR" sz="2400" b="1" dirty="0"/>
              <a:t>Como será a implementação de bula digital na GSK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Implementação gradual em alguns produtos do portfólio e ao longo do ano de 2026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2 modelos adotados: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pt-BR" sz="2200" dirty="0"/>
              <a:t>Modelo híbrido – com bula em papel e digital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pt-BR" sz="2200" dirty="0"/>
              <a:t>Modelo digital – somente com bula digit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1" dirty="0"/>
              <a:t>Jemperl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1" dirty="0"/>
              <a:t>Engerix 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1" dirty="0"/>
              <a:t>Twinri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1" dirty="0"/>
              <a:t>Trele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1" dirty="0"/>
              <a:t>Clavulin</a:t>
            </a:r>
          </a:p>
          <a:p>
            <a:endParaRPr lang="pt-BR" sz="2400" b="1" dirty="0"/>
          </a:p>
          <a:p>
            <a:endParaRPr lang="pt-BR" sz="18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3DBF94-FC8A-CB3C-C621-C1CAEECAC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jeto</a:t>
            </a:r>
            <a:r>
              <a:rPr lang="en-GB" dirty="0"/>
              <a:t> Piloto Bula Digital – GSK Brasil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D205AFE-5897-8BE9-5B7B-591883C187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956698"/>
              </p:ext>
            </p:extLst>
          </p:nvPr>
        </p:nvGraphicFramePr>
        <p:xfrm>
          <a:off x="1822212" y="3561245"/>
          <a:ext cx="8941359" cy="30522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225924">
                  <a:extLst>
                    <a:ext uri="{9D8B030D-6E8A-4147-A177-3AD203B41FA5}">
                      <a16:colId xmlns:a16="http://schemas.microsoft.com/office/drawing/2014/main" val="1251298644"/>
                    </a:ext>
                  </a:extLst>
                </a:gridCol>
                <a:gridCol w="4715435">
                  <a:extLst>
                    <a:ext uri="{9D8B030D-6E8A-4147-A177-3AD203B41FA5}">
                      <a16:colId xmlns:a16="http://schemas.microsoft.com/office/drawing/2014/main" val="3014009555"/>
                    </a:ext>
                  </a:extLst>
                </a:gridCol>
              </a:tblGrid>
              <a:tr h="33906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/>
                          </a:solidFill>
                        </a:rPr>
                        <a:t>Modelo </a:t>
                      </a:r>
                      <a:r>
                        <a:rPr lang="en-US" sz="1800" b="1" dirty="0" err="1">
                          <a:solidFill>
                            <a:schemeClr val="tx2"/>
                          </a:solidFill>
                        </a:rPr>
                        <a:t>híbrido</a:t>
                      </a:r>
                      <a:endParaRPr lang="pt-BR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/>
                          </a:solidFill>
                        </a:rPr>
                        <a:t>Modelo digital</a:t>
                      </a:r>
                      <a:endParaRPr lang="pt-BR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2828227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Bexsero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Medicamento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Clavulin</a:t>
                      </a:r>
                      <a:r>
                        <a:rPr lang="en-US" sz="1600" b="0" dirty="0"/>
                        <a:t> ES </a:t>
                      </a:r>
                      <a:r>
                        <a:rPr lang="en-US" sz="1600" b="0" dirty="0" err="1"/>
                        <a:t>Amostr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Grátis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010582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Menveo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/>
                        <a:t>Medicamento Clavulin BD Amostra Grát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8197559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/>
                        <a:t>Vacina Arexv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Medicamento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Combodart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Amostr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Grátis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6335372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Medicamento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Jemperli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Infanrix Hexa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220743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Twinrix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Infanrix Penta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884191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Medicamento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Trelegy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Refortrix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961880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Medicamento</a:t>
                      </a:r>
                      <a:r>
                        <a:rPr lang="en-US" sz="1600" b="0" dirty="0"/>
                        <a:t> Nucala</a:t>
                      </a:r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err="1"/>
                        <a:t>Vacin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Refortrix</a:t>
                      </a:r>
                      <a:r>
                        <a:rPr lang="en-US" sz="1600" b="0" dirty="0"/>
                        <a:t> IPV</a:t>
                      </a:r>
                      <a:endParaRPr lang="pt-BR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961377"/>
                  </a:ext>
                </a:extLst>
              </a:tr>
              <a:tr h="335815">
                <a:tc>
                  <a:txBody>
                    <a:bodyPr/>
                    <a:lstStyle/>
                    <a:p>
                      <a:pPr algn="ctr"/>
                      <a:endParaRPr lang="pt-BR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/>
                        <a:t>Vacina Engerix B</a:t>
                      </a:r>
                      <a:endParaRPr lang="pt-B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15227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570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87573-40E7-21E2-7E6B-0CA5525AF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5B81A6-A2C6-4575-B1BC-0E39AB168B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6114" y="878275"/>
            <a:ext cx="11460163" cy="4489450"/>
          </a:xfrm>
        </p:spPr>
        <p:txBody>
          <a:bodyPr anchor="t"/>
          <a:lstStyle/>
          <a:p>
            <a:r>
              <a:rPr lang="pt-BR" sz="2400" b="1" dirty="0"/>
              <a:t>Qual será a ferramenta utilizada pela GSK Brasil como repositório das bulas?</a:t>
            </a:r>
          </a:p>
          <a:p>
            <a:endParaRPr lang="pt-BR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Ferramenta denominada </a:t>
            </a:r>
            <a:r>
              <a:rPr lang="pt-BR" sz="2400" b="1" u="sng" dirty="0"/>
              <a:t>PharmaLedger</a:t>
            </a:r>
            <a:r>
              <a:rPr lang="pt-BR" sz="2400" dirty="0"/>
              <a:t> - mais informações: </a:t>
            </a:r>
            <a:r>
              <a:rPr lang="pt-BR" sz="2400" dirty="0">
                <a:hlinkClick r:id="rId2"/>
              </a:rPr>
              <a:t>https://pharmaledger.org/</a:t>
            </a:r>
            <a:r>
              <a:rPr lang="pt-BR" sz="2400" dirty="0"/>
              <a:t> </a:t>
            </a:r>
          </a:p>
          <a:p>
            <a:endParaRPr lang="pt-BR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Para acessar a bula digital dos produtos GSK que fazem parte do projeto:</a:t>
            </a:r>
            <a:endParaRPr lang="pt-BR" sz="16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D72D1-CF44-B052-96D0-EDF8EF9EC52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7F4CD0-83C1-4C99-A2BD-6DA4A1CC9D00}" type="datetime4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February 202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E06603-50C2-DB50-B60E-5BA8A62DBA8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SK Precision Light"/>
                <a:ea typeface="+mn-ea"/>
                <a:cs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SK Precision Light"/>
              <a:ea typeface="+mn-ea"/>
              <a:cs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F9554F3-4E6D-CE71-965E-EB6724461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jeto</a:t>
            </a:r>
            <a:r>
              <a:rPr lang="en-GB" dirty="0"/>
              <a:t> Piloto Bula Digital - Brasi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A5217E-7DFC-5FB9-6178-2307484429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816" y="3182526"/>
            <a:ext cx="2528900" cy="31611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7E8963-8E88-251F-DC5F-6104E5D9D4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0596" y="3182526"/>
            <a:ext cx="2528901" cy="316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84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THINKCELLUNDODONOTDELETE" val="0"/>
  <p:tag name="ARTICULATE_PROJECT_OPEN" val="0"/>
  <p:tag name="ARTICULATE_SLIDE_COUNT" val="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rgbClr val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959595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dirty="0" err="1" smtClean="0"/>
        </a:defPPr>
      </a:lstStyle>
    </a:txDef>
  </a:objectDefaults>
  <a:extraClrSchemeLst/>
  <a:custClrLst>
    <a:custClr name="Custom Color 1">
      <a:srgbClr val="6658A6"/>
    </a:custClr>
    <a:custClr name="Custom Color 2">
      <a:srgbClr val="E21860"/>
    </a:custClr>
    <a:custClr name="Custom Color 3">
      <a:srgbClr val="69B445"/>
    </a:custClr>
    <a:custClr name="Custom Color 4">
      <a:srgbClr val="244EA2"/>
    </a:custClr>
    <a:custClr name="Custom Color 5">
      <a:srgbClr val="FFC709"/>
    </a:custClr>
    <a:custClr name="Custom Color 6">
      <a:srgbClr val="DC4133"/>
    </a:custClr>
    <a:custClr name="Custom Color 7">
      <a:srgbClr val="00B8AD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522E91"/>
    </a:custClr>
    <a:custClr name="Custom Color 12">
      <a:srgbClr val="862045"/>
    </a:custClr>
    <a:custClr name="Custom Color 13">
      <a:srgbClr val="436632"/>
    </a:custClr>
    <a:custClr name="Custom Color 14">
      <a:srgbClr val="263970"/>
    </a:custClr>
    <a:custClr name="Custom Color 15">
      <a:srgbClr val="C1A42B"/>
    </a:custClr>
    <a:custClr name="Custom Color 16">
      <a:srgbClr val="983728"/>
    </a:custClr>
    <a:custClr name="Custom Color 17">
      <a:srgbClr val="02736E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AB95C7"/>
    </a:custClr>
    <a:custClr name="Custom Color 22">
      <a:srgbClr val="CA8E9E"/>
    </a:custClr>
    <a:custClr name="Custom Color 23">
      <a:srgbClr val="85A977"/>
    </a:custClr>
    <a:custClr name="Custom Color 24">
      <a:srgbClr val="6F8CC7"/>
    </a:custClr>
    <a:custClr name="Custom Color 25">
      <a:srgbClr val="E2CC8F"/>
    </a:custClr>
    <a:custClr name="Custom Color 26">
      <a:srgbClr val="D6A197"/>
    </a:custClr>
    <a:custClr name="Custom Color 27">
      <a:srgbClr val="72ABA3"/>
    </a:custClr>
  </a:custClrLst>
  <a:extLst>
    <a:ext uri="{05A4C25C-085E-4340-85A3-A5531E510DB2}">
      <thm15:themeFamily xmlns:thm15="http://schemas.microsoft.com/office/thememl/2012/main" name="EXTERNAL USE - GSK PowerPoint Artkit with GSK Precision Font.pptx  -  Read-Only" id="{632A8727-7603-4205-82C7-0B673D6AB8A9}" vid="{FF048DE8-3C79-468A-95D4-C7E32A151A48}"/>
    </a:ext>
  </a:extLst>
</a:theme>
</file>

<file path=ppt/theme/theme2.xml><?xml version="1.0" encoding="utf-8"?>
<a:theme xmlns:a="http://schemas.openxmlformats.org/drawingml/2006/main" name="1_GSK ">
  <a:themeElements>
    <a:clrScheme name="GSK_Template_2022">
      <a:dk1>
        <a:srgbClr val="000000"/>
      </a:dk1>
      <a:lt1>
        <a:srgbClr val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959595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dirty="0" err="1" smtClean="0"/>
        </a:defPPr>
      </a:lstStyle>
    </a:txDef>
  </a:objectDefaults>
  <a:extraClrSchemeLst/>
  <a:custClrLst>
    <a:custClr name="Custom Color 1">
      <a:srgbClr val="6658A6"/>
    </a:custClr>
    <a:custClr name="Custom Color 2">
      <a:srgbClr val="E21860"/>
    </a:custClr>
    <a:custClr name="Custom Color 3">
      <a:srgbClr val="69B445"/>
    </a:custClr>
    <a:custClr name="Custom Color 4">
      <a:srgbClr val="244EA2"/>
    </a:custClr>
    <a:custClr name="Custom Color 5">
      <a:srgbClr val="FFC709"/>
    </a:custClr>
    <a:custClr name="Custom Color 6">
      <a:srgbClr val="DC4133"/>
    </a:custClr>
    <a:custClr name="Custom Color 7">
      <a:srgbClr val="00B8AD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522E91"/>
    </a:custClr>
    <a:custClr name="Custom Color 12">
      <a:srgbClr val="862045"/>
    </a:custClr>
    <a:custClr name="Custom Color 13">
      <a:srgbClr val="436632"/>
    </a:custClr>
    <a:custClr name="Custom Color 14">
      <a:srgbClr val="263970"/>
    </a:custClr>
    <a:custClr name="Custom Color 15">
      <a:srgbClr val="C1A42B"/>
    </a:custClr>
    <a:custClr name="Custom Color 16">
      <a:srgbClr val="983728"/>
    </a:custClr>
    <a:custClr name="Custom Color 17">
      <a:srgbClr val="02736E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AB95C7"/>
    </a:custClr>
    <a:custClr name="Custom Color 22">
      <a:srgbClr val="CA8E9E"/>
    </a:custClr>
    <a:custClr name="Custom Color 23">
      <a:srgbClr val="85A977"/>
    </a:custClr>
    <a:custClr name="Custom Color 24">
      <a:srgbClr val="6F8CC7"/>
    </a:custClr>
    <a:custClr name="Custom Color 25">
      <a:srgbClr val="E2CC8F"/>
    </a:custClr>
    <a:custClr name="Custom Color 26">
      <a:srgbClr val="D6A197"/>
    </a:custClr>
    <a:custClr name="Custom Color 27">
      <a:srgbClr val="72ABA3"/>
    </a:custClr>
  </a:custClrLst>
  <a:extLst>
    <a:ext uri="{05A4C25C-085E-4340-85A3-A5531E510DB2}">
      <thm15:themeFamily xmlns:thm15="http://schemas.microsoft.com/office/thememl/2012/main" name="INTERNAL USE - GSK PowerPoint Artkit with GSK Precision Font  -  Read-Only" id="{460C5DB4-DCBB-49F5-A029-C584706AAD18}" vid="{F3200557-9F48-4EDD-A60B-6F8C03099FFF}"/>
    </a:ext>
  </a:extLst>
</a:theme>
</file>

<file path=ppt/theme/theme3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FBBF6E9189954BA0FDCD563682A98B" ma:contentTypeVersion="18" ma:contentTypeDescription="Create a new document." ma:contentTypeScope="" ma:versionID="9bdf76aae32a16157cdf99bcf588af46">
  <xsd:schema xmlns:xsd="http://www.w3.org/2001/XMLSchema" xmlns:xs="http://www.w3.org/2001/XMLSchema" xmlns:p="http://schemas.microsoft.com/office/2006/metadata/properties" xmlns:ns2="731989eb-7121-409c-871c-8f2366272918" xmlns:ns3="a5bf85ab-5b89-45d5-812d-d881043611a5" targetNamespace="http://schemas.microsoft.com/office/2006/metadata/properties" ma:root="true" ma:fieldsID="97593d73db6a2b5e524ced3160a40bae" ns2:_="" ns3:_="">
    <xsd:import namespace="731989eb-7121-409c-871c-8f2366272918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989eb-7121-409c-871c-8f23662729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f367377-cea2-4f59-9866-8491a8f07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018993d-1d16-43cf-b63c-2f328976747f}" ma:internalName="TaxCatchAll" ma:showField="CatchAllData" ma:web="a5bf85ab-5b89-45d5-812d-d881043611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31989eb-7121-409c-871c-8f2366272918">
      <Terms xmlns="http://schemas.microsoft.com/office/infopath/2007/PartnerControls"/>
    </lcf76f155ced4ddcb4097134ff3c332f>
    <TaxCatchAll xmlns="a5bf85ab-5b89-45d5-812d-d881043611a5" xsi:nil="true"/>
  </documentManagement>
</p:properties>
</file>

<file path=customXml/itemProps1.xml><?xml version="1.0" encoding="utf-8"?>
<ds:datastoreItem xmlns:ds="http://schemas.openxmlformats.org/officeDocument/2006/customXml" ds:itemID="{E1554979-5B07-490A-955E-C899B30F03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1989eb-7121-409c-871c-8f2366272918"/>
    <ds:schemaRef ds:uri="a5bf85ab-5b89-45d5-812d-d881043611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1B79B3-E15B-458F-91DF-7EEDA242F0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FC8329-C6F9-417B-AFDE-5E22243E6E66}">
  <ds:schemaRefs>
    <ds:schemaRef ds:uri="a5bf85ab-5b89-45d5-812d-d881043611a5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731989eb-7121-409c-871c-8f2366272918"/>
  </ds:schemaRefs>
</ds:datastoreItem>
</file>

<file path=docMetadata/LabelInfo.xml><?xml version="1.0" encoding="utf-8"?>
<clbl:labelList xmlns:clbl="http://schemas.microsoft.com/office/2020/mipLabelMetadata">
  <clbl:label id="{bea66b2b-af80-48b6-873b-d341d3035cfa}" enabled="1" method="Standard" siteId="{63982aff-fb6c-4c22-973b-70e4acfb63e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NTERNAL USE - GSK PowerPoint Artkit with GSK Precision Font 4.0</Template>
  <TotalTime>193</TotalTime>
  <Words>272</Words>
  <Application>Microsoft Office PowerPoint</Application>
  <PresentationFormat>Widescreen</PresentationFormat>
  <Paragraphs>5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GSK Precision Light</vt:lpstr>
      <vt:lpstr>GSK </vt:lpstr>
      <vt:lpstr>1_GSK </vt:lpstr>
      <vt:lpstr>think-cell Slide</vt:lpstr>
      <vt:lpstr>Projeto Bula Digital</vt:lpstr>
      <vt:lpstr>O que é o Projeto Piloto de Bula Digital da Anvisa?</vt:lpstr>
      <vt:lpstr>Projeto Piloto Bula Digital – GSK Brasil</vt:lpstr>
      <vt:lpstr>Projeto Piloto Bula Digital - Brasil</vt:lpstr>
    </vt:vector>
  </TitlesOfParts>
  <Company>GlaxoSmithKl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a Beatriz dos Santos</dc:creator>
  <cp:lastModifiedBy>Ana Beatriz dos Santos</cp:lastModifiedBy>
  <cp:revision>2</cp:revision>
  <cp:lastPrinted>2025-06-16T15:25:37Z</cp:lastPrinted>
  <dcterms:created xsi:type="dcterms:W3CDTF">2025-06-16T14:52:11Z</dcterms:created>
  <dcterms:modified xsi:type="dcterms:W3CDTF">2026-02-24T13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FBBF6E9189954BA0FDCD563682A98B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  <property fmtid="{D5CDD505-2E9C-101B-9397-08002B2CF9AE}" pid="6" name="MSIP_Label_bea66b2b-af80-48b6-873b-d341d3035cfa_Enabled">
    <vt:lpwstr>true</vt:lpwstr>
  </property>
  <property fmtid="{D5CDD505-2E9C-101B-9397-08002B2CF9AE}" pid="7" name="MSIP_Label_bea66b2b-af80-48b6-873b-d341d3035cfa_SetDate">
    <vt:lpwstr>2024-03-07T15:44:19Z</vt:lpwstr>
  </property>
  <property fmtid="{D5CDD505-2E9C-101B-9397-08002B2CF9AE}" pid="8" name="MSIP_Label_bea66b2b-af80-48b6-873b-d341d3035cfa_Method">
    <vt:lpwstr>Standard</vt:lpwstr>
  </property>
  <property fmtid="{D5CDD505-2E9C-101B-9397-08002B2CF9AE}" pid="9" name="MSIP_Label_bea66b2b-af80-48b6-873b-d341d3035cfa_Name">
    <vt:lpwstr>Proprietary</vt:lpwstr>
  </property>
  <property fmtid="{D5CDD505-2E9C-101B-9397-08002B2CF9AE}" pid="10" name="MSIP_Label_bea66b2b-af80-48b6-873b-d341d3035cfa_SiteId">
    <vt:lpwstr>63982aff-fb6c-4c22-973b-70e4acfb63e6</vt:lpwstr>
  </property>
  <property fmtid="{D5CDD505-2E9C-101B-9397-08002B2CF9AE}" pid="11" name="MSIP_Label_bea66b2b-af80-48b6-873b-d341d3035cfa_ActionId">
    <vt:lpwstr>d722ce65-6b2d-434b-a785-7c51babf0e9b</vt:lpwstr>
  </property>
  <property fmtid="{D5CDD505-2E9C-101B-9397-08002B2CF9AE}" pid="12" name="MSIP_Label_bea66b2b-af80-48b6-873b-d341d3035cfa_ContentBits">
    <vt:lpwstr>0</vt:lpwstr>
  </property>
</Properties>
</file>